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83" r:id="rId2"/>
  </p:sldIdLst>
  <p:sldSz cx="9906000" cy="6858000" type="A4"/>
  <p:notesSz cx="6805613" cy="9939338"/>
  <p:custDataLst>
    <p:tags r:id="rId5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27" userDrawn="1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E2E2E2"/>
    <a:srgbClr val="A5BFE9"/>
    <a:srgbClr val="4F8ABE"/>
    <a:srgbClr val="000000"/>
    <a:srgbClr val="BFD5E5"/>
    <a:srgbClr val="376092"/>
    <a:srgbClr val="4E678D"/>
    <a:srgbClr val="F2DCDB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23" autoAdjust="0"/>
    <p:restoredTop sz="96848" autoAdjust="0"/>
  </p:normalViewPr>
  <p:slideViewPr>
    <p:cSldViewPr>
      <p:cViewPr varScale="1">
        <p:scale>
          <a:sx n="114" d="100"/>
          <a:sy n="114" d="100"/>
        </p:scale>
        <p:origin x="-1050" y="-96"/>
      </p:cViewPr>
      <p:guideLst>
        <p:guide orient="horz" pos="527"/>
        <p:guide orient="horz" pos="935"/>
        <p:guide pos="3120"/>
        <p:guide pos="6068"/>
        <p:guide pos="17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>
        <p:scale>
          <a:sx n="100" d="100"/>
          <a:sy n="100" d="100"/>
        </p:scale>
        <p:origin x="-1890" y="1158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4940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354909-2177-47AD-BC48-72B423E91588}" type="datetimeFigureOut">
              <a:rPr lang="ko-KR" altLang="en-US" smtClean="0"/>
              <a:pPr/>
              <a:t>2017-06-08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55C92C-942C-42C0-B36B-87713B45D2A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3556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4940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A69733-B564-4A77-9952-5C49B2AAE15F}" type="datetimeFigureOut">
              <a:rPr lang="ko-KR" altLang="en-US" smtClean="0"/>
              <a:pPr/>
              <a:t>2017-06-0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0037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365548-BF37-4977-BC89-219863EFC6CA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4308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6.xml"/><Relationship Id="rId7" Type="http://schemas.openxmlformats.org/officeDocument/2006/relationships/image" Target="../media/image3.jp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3" cstate="print"/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92585" y="1120969"/>
            <a:ext cx="5904656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 userDrawn="1"/>
        </p:nvSpPr>
        <p:spPr>
          <a:xfrm>
            <a:off x="3300696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4394969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err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5489241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220796" y="6278256"/>
            <a:ext cx="2496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80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처음처럼  </a:t>
            </a:r>
            <a:r>
              <a:rPr lang="en-US" altLang="ko-KR" sz="180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ack to Basics</a:t>
            </a:r>
            <a:endParaRPr lang="ko-KR" altLang="en-US" sz="180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85" y="692867"/>
            <a:ext cx="2090324" cy="20220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직선 연결선 19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직사각형 14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lang="ko-KR" altLang="en-US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7" name="직사각형 16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8215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838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직선 연결선 19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 userDrawn="1"/>
        </p:nvCxnSpPr>
        <p:spPr>
          <a:xfrm>
            <a:off x="200472" y="980728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슬라이드 번호 개체 틀 28"/>
          <p:cNvSpPr>
            <a:spLocks noGrp="1"/>
          </p:cNvSpPr>
          <p:nvPr userDrawn="1">
            <p:ph type="sldNum" sz="quarter" idx="12"/>
            <p:custDataLst>
              <p:tags r:id="rId3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lang="ko-KR" altLang="en-US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7" name="직사각형 16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580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867566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슬라이드 번호 개체 틀 28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49" r:id="rId3"/>
    <p:sldLayoutId id="2147483652" r:id="rId4"/>
  </p:sldLayoutIdLst>
  <p:hf hdr="0" ftr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0472" y="492247"/>
            <a:ext cx="900100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ko-KR" altLang="en-US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내부데이터를 활용한 </a:t>
            </a:r>
            <a:r>
              <a:rPr lang="en-US" altLang="ko-KR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Facebook Target</a:t>
            </a:r>
            <a:r>
              <a:rPr lang="ko-KR" altLang="en-US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</a:t>
            </a:r>
            <a:r>
              <a:rPr lang="en-US" altLang="ko-KR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Audience</a:t>
            </a:r>
            <a:r>
              <a:rPr lang="ko-KR" altLang="en-US" sz="200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  <a:sym typeface="아리따-돋움(OTF)-Medium"/>
              </a:rPr>
              <a:t> 프로세스 </a:t>
            </a:r>
            <a:endParaRPr lang="en-US" altLang="ko-KR" sz="200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  <a:sym typeface="아리따-돋움(OTF)-Medium"/>
            </a:endParaRPr>
          </a:p>
        </p:txBody>
      </p:sp>
      <p:grpSp>
        <p:nvGrpSpPr>
          <p:cNvPr id="22" name="그룹 21"/>
          <p:cNvGrpSpPr/>
          <p:nvPr/>
        </p:nvGrpSpPr>
        <p:grpSpPr>
          <a:xfrm>
            <a:off x="669810" y="3249037"/>
            <a:ext cx="1224136" cy="765644"/>
            <a:chOff x="544226" y="2494375"/>
            <a:chExt cx="1279420" cy="1167954"/>
          </a:xfrm>
        </p:grpSpPr>
        <p:pic>
          <p:nvPicPr>
            <p:cNvPr id="23" name="Picture 258" descr="디비2"/>
            <p:cNvPicPr>
              <a:picLocks noChangeAspect="1" noChangeArrowheads="1"/>
            </p:cNvPicPr>
            <p:nvPr/>
          </p:nvPicPr>
          <p:blipFill>
            <a:blip r:embed="rId3" cstate="print">
              <a:lum bright="12000" contrast="-18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905" y="2494375"/>
              <a:ext cx="620993" cy="726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TextBox 23"/>
            <p:cNvSpPr txBox="1"/>
            <p:nvPr/>
          </p:nvSpPr>
          <p:spPr>
            <a:xfrm>
              <a:off x="544226" y="3274992"/>
              <a:ext cx="1279420" cy="3873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50" b="1" dirty="0" smtClean="0">
                  <a:solidFill>
                    <a:schemeClr val="tx1"/>
                  </a:solidFill>
                  <a:latin typeface="아리따B" panose="02020603020101020101" pitchFamily="18" charset="-127"/>
                  <a:ea typeface="아리따B" panose="02020603020101020101" pitchFamily="18" charset="-127"/>
                </a:rPr>
                <a:t>내부 </a:t>
              </a:r>
              <a:r>
                <a:rPr lang="en-US" altLang="ko-KR" sz="1050" b="1" dirty="0" smtClean="0">
                  <a:solidFill>
                    <a:schemeClr val="tx1"/>
                  </a:solidFill>
                  <a:latin typeface="아리따B" panose="02020603020101020101" pitchFamily="18" charset="-127"/>
                  <a:ea typeface="아리따B" panose="02020603020101020101" pitchFamily="18" charset="-127"/>
                </a:rPr>
                <a:t>CRM </a:t>
              </a:r>
              <a:r>
                <a:rPr lang="ko-KR" altLang="en-US" sz="1050" b="1" dirty="0" smtClean="0">
                  <a:solidFill>
                    <a:schemeClr val="tx1"/>
                  </a:solidFill>
                  <a:latin typeface="아리따B" panose="02020603020101020101" pitchFamily="18" charset="-127"/>
                  <a:ea typeface="아리따B" panose="02020603020101020101" pitchFamily="18" charset="-127"/>
                </a:rPr>
                <a:t>데이터</a:t>
              </a:r>
              <a:endParaRPr lang="ko-KR" altLang="en-US" sz="1050" b="1" dirty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endParaRPr>
            </a:p>
          </p:txBody>
        </p:sp>
      </p:grpSp>
      <p:pic>
        <p:nvPicPr>
          <p:cNvPr id="3074" name="Picture 2" descr="facebook에 대한 이미지 검색결과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180" y="3185723"/>
            <a:ext cx="648072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직선 연결선 25"/>
          <p:cNvCxnSpPr>
            <a:endCxn id="3074" idx="1"/>
          </p:cNvCxnSpPr>
          <p:nvPr/>
        </p:nvCxnSpPr>
        <p:spPr>
          <a:xfrm>
            <a:off x="1610315" y="3509759"/>
            <a:ext cx="1682865" cy="0"/>
          </a:xfrm>
          <a:prstGeom prst="line">
            <a:avLst/>
          </a:prstGeom>
          <a:ln w="28575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3080" y="1131767"/>
            <a:ext cx="1548000" cy="1584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 descr="관련 이미지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3" t="10979" r="65162" b="57875"/>
          <a:stretch/>
        </p:blipFill>
        <p:spPr bwMode="auto">
          <a:xfrm>
            <a:off x="5673080" y="2972676"/>
            <a:ext cx="1548000" cy="151216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관련 이미지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919" t="11052" r="38" b="58574"/>
          <a:stretch/>
        </p:blipFill>
        <p:spPr bwMode="auto">
          <a:xfrm>
            <a:off x="5673080" y="4751838"/>
            <a:ext cx="1548000" cy="151535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5" name="꺾인 연결선 34"/>
          <p:cNvCxnSpPr>
            <a:stCxn id="3074" idx="3"/>
            <a:endCxn id="4099" idx="1"/>
          </p:cNvCxnSpPr>
          <p:nvPr/>
        </p:nvCxnSpPr>
        <p:spPr>
          <a:xfrm flipV="1">
            <a:off x="3941252" y="1924225"/>
            <a:ext cx="1731828" cy="1585534"/>
          </a:xfrm>
          <a:prstGeom prst="bentConnector3">
            <a:avLst>
              <a:gd name="adj1" fmla="val 77101"/>
            </a:avLst>
          </a:prstGeom>
          <a:ln w="28575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꺾인 연결선 37"/>
          <p:cNvCxnSpPr>
            <a:stCxn id="3074" idx="3"/>
            <a:endCxn id="4103" idx="2"/>
          </p:cNvCxnSpPr>
          <p:nvPr/>
        </p:nvCxnSpPr>
        <p:spPr>
          <a:xfrm>
            <a:off x="3941252" y="3509759"/>
            <a:ext cx="1731828" cy="1999759"/>
          </a:xfrm>
          <a:prstGeom prst="bentConnector3">
            <a:avLst>
              <a:gd name="adj1" fmla="val 77101"/>
            </a:avLst>
          </a:prstGeom>
          <a:ln w="28575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꺾인 연결선 44"/>
          <p:cNvCxnSpPr>
            <a:stCxn id="3074" idx="3"/>
            <a:endCxn id="4101" idx="2"/>
          </p:cNvCxnSpPr>
          <p:nvPr/>
        </p:nvCxnSpPr>
        <p:spPr>
          <a:xfrm>
            <a:off x="3941252" y="3509759"/>
            <a:ext cx="1731828" cy="219001"/>
          </a:xfrm>
          <a:prstGeom prst="bentConnector3">
            <a:avLst>
              <a:gd name="adj1" fmla="val 77101"/>
            </a:avLst>
          </a:prstGeom>
          <a:ln w="28575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148875" y="4005064"/>
            <a:ext cx="221905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사용가능한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메일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정보 추출</a:t>
            </a:r>
            <a:endParaRPr lang="en-US" altLang="ko-KR" sz="11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 행동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구매 이력 기반 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세그먼트 생성</a:t>
            </a:r>
            <a:endParaRPr lang="en-US" altLang="ko-KR" sz="11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세그먼트 별 맞춤 </a:t>
            </a: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컨텐츠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맵핑</a:t>
            </a:r>
            <a:endParaRPr lang="ko-KR" altLang="en-US" sz="11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856656" y="3237252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b="1" dirty="0" smtClean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rPr>
              <a:t>데이터 </a:t>
            </a:r>
            <a:r>
              <a:rPr lang="en-US" altLang="ko-KR" sz="1050" b="1" dirty="0" smtClean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rPr>
              <a:t>Upload</a:t>
            </a:r>
            <a:endParaRPr lang="ko-KR" altLang="en-US" sz="1050" b="1" dirty="0">
              <a:solidFill>
                <a:schemeClr val="tx1"/>
              </a:solidFill>
              <a:latin typeface="아리따B" panose="02020603020101020101" pitchFamily="18" charset="-127"/>
              <a:ea typeface="아리따B" panose="02020603020101020101" pitchFamily="18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2507686" y="4005064"/>
            <a:ext cx="2445313" cy="67710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Upload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한 </a:t>
            </a: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메일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정보 암호화 처리</a:t>
            </a:r>
            <a:endParaRPr lang="en-US" altLang="ko-KR" sz="11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페이스북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이메일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정보와 </a:t>
            </a: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매핑처리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하여 유효한 </a:t>
            </a: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모수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추출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약 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60%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예상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sz="11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pic>
        <p:nvPicPr>
          <p:cNvPr id="4105" name="Picture 9" descr="섬리안크림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1549" y="1124744"/>
            <a:ext cx="1360296" cy="1360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7" name="Picture 11" descr="http://images.amorepacificmall.com/UPLOAD/UPLOAD_IMAGE/A020/201704/IMG1492EYN999934680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265" y="3415774"/>
            <a:ext cx="1432864" cy="50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1695" y="4894490"/>
            <a:ext cx="920005" cy="1149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3" name="TextBox 62"/>
          <p:cNvSpPr txBox="1"/>
          <p:nvPr/>
        </p:nvSpPr>
        <p:spPr>
          <a:xfrm>
            <a:off x="8189629" y="2358082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b="1" dirty="0" smtClean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rPr>
              <a:t>상품 노출</a:t>
            </a:r>
            <a:endParaRPr lang="ko-KR" altLang="en-US" sz="1050" b="1" dirty="0">
              <a:solidFill>
                <a:schemeClr val="tx1"/>
              </a:solidFill>
              <a:latin typeface="아리따B" panose="02020603020101020101" pitchFamily="18" charset="-127"/>
              <a:ea typeface="아리따B" panose="02020603020101020101" pitchFamily="18" charset="-127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189629" y="3933056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b="1" smtClean="0">
                <a:latin typeface="아리따B" panose="02020603020101020101" pitchFamily="18" charset="-127"/>
                <a:ea typeface="아리따B" panose="02020603020101020101" pitchFamily="18" charset="-127"/>
              </a:rPr>
              <a:t>회원 가입 안내</a:t>
            </a:r>
            <a:endParaRPr lang="ko-KR" altLang="en-US" sz="1050" b="1" dirty="0">
              <a:solidFill>
                <a:schemeClr val="tx1"/>
              </a:solidFill>
              <a:latin typeface="아리따B" panose="02020603020101020101" pitchFamily="18" charset="-127"/>
              <a:ea typeface="아리따B" panose="02020603020101020101" pitchFamily="18" charset="-127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189629" y="6037558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b="1" dirty="0" smtClean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rPr>
              <a:t>프로모션 노출</a:t>
            </a:r>
            <a:endParaRPr lang="ko-KR" altLang="en-US" sz="1050" b="1" dirty="0">
              <a:solidFill>
                <a:schemeClr val="tx1"/>
              </a:solidFill>
              <a:latin typeface="아리따B" panose="02020603020101020101" pitchFamily="18" charset="-127"/>
              <a:ea typeface="아리따B" panose="02020603020101020101" pitchFamily="18" charset="-127"/>
            </a:endParaRPr>
          </a:p>
        </p:txBody>
      </p:sp>
      <p:cxnSp>
        <p:nvCxnSpPr>
          <p:cNvPr id="66" name="직선 연결선 65"/>
          <p:cNvCxnSpPr/>
          <p:nvPr/>
        </p:nvCxnSpPr>
        <p:spPr>
          <a:xfrm>
            <a:off x="7226065" y="1918401"/>
            <a:ext cx="1188000" cy="0"/>
          </a:xfrm>
          <a:prstGeom prst="line">
            <a:avLst/>
          </a:prstGeom>
          <a:ln w="28575">
            <a:solidFill>
              <a:srgbClr val="00206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직선 연결선 69"/>
          <p:cNvCxnSpPr/>
          <p:nvPr/>
        </p:nvCxnSpPr>
        <p:spPr>
          <a:xfrm>
            <a:off x="7268335" y="3708211"/>
            <a:ext cx="756000" cy="0"/>
          </a:xfrm>
          <a:prstGeom prst="line">
            <a:avLst/>
          </a:prstGeom>
          <a:ln w="28575">
            <a:solidFill>
              <a:srgbClr val="00206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연결선 70"/>
          <p:cNvCxnSpPr/>
          <p:nvPr/>
        </p:nvCxnSpPr>
        <p:spPr>
          <a:xfrm>
            <a:off x="7258256" y="5517232"/>
            <a:ext cx="1008000" cy="0"/>
          </a:xfrm>
          <a:prstGeom prst="line">
            <a:avLst/>
          </a:prstGeom>
          <a:ln w="28575">
            <a:solidFill>
              <a:srgbClr val="00206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6110168" y="2571538"/>
            <a:ext cx="67382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50" b="1" dirty="0" err="1" smtClean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rPr>
              <a:t>Seg</a:t>
            </a:r>
            <a:r>
              <a:rPr lang="en-US" altLang="ko-KR" sz="1050" b="1" dirty="0" smtClean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rPr>
              <a:t> 1</a:t>
            </a:r>
            <a:endParaRPr lang="ko-KR" altLang="en-US" sz="1050" b="1" dirty="0">
              <a:solidFill>
                <a:schemeClr val="tx1"/>
              </a:solidFill>
              <a:latin typeface="아리따B" panose="02020603020101020101" pitchFamily="18" charset="-127"/>
              <a:ea typeface="아리따B" panose="02020603020101020101" pitchFamily="18" charset="-127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6110168" y="4339771"/>
            <a:ext cx="67382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50" b="1" dirty="0" err="1" smtClean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rPr>
              <a:t>Seg</a:t>
            </a:r>
            <a:r>
              <a:rPr lang="en-US" altLang="ko-KR" sz="1050" b="1" dirty="0" smtClean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rPr>
              <a:t> 2</a:t>
            </a:r>
            <a:endParaRPr lang="ko-KR" altLang="en-US" sz="1050" b="1" dirty="0">
              <a:solidFill>
                <a:schemeClr val="tx1"/>
              </a:solidFill>
              <a:latin typeface="아리따B" panose="02020603020101020101" pitchFamily="18" charset="-127"/>
              <a:ea typeface="아리따B" panose="02020603020101020101" pitchFamily="18" charset="-127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6110168" y="6176762"/>
            <a:ext cx="67382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50" b="1" dirty="0" err="1" smtClean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rPr>
              <a:t>Seg</a:t>
            </a:r>
            <a:r>
              <a:rPr lang="en-US" altLang="ko-KR" sz="1050" b="1" dirty="0" smtClean="0">
                <a:solidFill>
                  <a:schemeClr val="tx1"/>
                </a:solidFill>
                <a:latin typeface="아리따B" panose="02020603020101020101" pitchFamily="18" charset="-127"/>
                <a:ea typeface="아리따B" panose="02020603020101020101" pitchFamily="18" charset="-127"/>
              </a:rPr>
              <a:t> 3</a:t>
            </a:r>
            <a:endParaRPr lang="ko-KR" altLang="en-US" sz="1050" b="1" dirty="0">
              <a:solidFill>
                <a:schemeClr val="tx1"/>
              </a:solidFill>
              <a:latin typeface="아리따B" panose="02020603020101020101" pitchFamily="18" charset="-127"/>
              <a:ea typeface="아리따B" panose="02020603020101020101" pitchFamily="18" charset="-127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2628312" y="5753570"/>
            <a:ext cx="3024336" cy="67710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페이스북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피드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상에서 각 </a:t>
            </a: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세그별로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세팅한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컨텐츠가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노출됨</a:t>
            </a:r>
            <a:endParaRPr lang="en-US" altLang="ko-KR" sz="11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altLang="ko-KR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CTR, CPC, CVR 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지표를 통해 </a:t>
            </a:r>
            <a:r>
              <a:rPr lang="ko-KR" altLang="en-US" sz="1100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세그별</a:t>
            </a:r>
            <a:r>
              <a:rPr lang="ko-KR" altLang="en-US" sz="11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성과 측정</a:t>
            </a:r>
            <a:endParaRPr lang="ko-KR" altLang="en-US" sz="11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3994802" y="3237252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050" b="1" err="1" smtClean="0">
                <a:latin typeface="아리따B" panose="02020603020101020101" pitchFamily="18" charset="-127"/>
                <a:ea typeface="아리따B" panose="02020603020101020101" pitchFamily="18" charset="-127"/>
              </a:rPr>
              <a:t>피드</a:t>
            </a:r>
            <a:r>
              <a:rPr lang="ko-KR" altLang="en-US" sz="1050" b="1" dirty="0" smtClean="0">
                <a:latin typeface="아리따B" panose="02020603020101020101" pitchFamily="18" charset="-127"/>
                <a:ea typeface="아리따B" panose="02020603020101020101" pitchFamily="18" charset="-127"/>
              </a:rPr>
              <a:t> 노출</a:t>
            </a:r>
            <a:endParaRPr lang="ko-KR" altLang="en-US" sz="1050" b="1" dirty="0">
              <a:solidFill>
                <a:schemeClr val="tx1"/>
              </a:solidFill>
              <a:latin typeface="아리따B" panose="02020603020101020101" pitchFamily="18" charset="-127"/>
              <a:ea typeface="아리따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5551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dym.jL06xNi8r6dTG2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696</TotalTime>
  <Words>52</Words>
  <Application>Microsoft Office PowerPoint</Application>
  <PresentationFormat>A4 용지(210x297mm)</PresentationFormat>
  <Paragraphs>17</Paragraphs>
  <Slides>1</Slides>
  <Notes>0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3" baseType="lpstr">
      <vt:lpstr>Office 테마</vt:lpstr>
      <vt:lpstr>think-cell Slide</vt:lpstr>
      <vt:lpstr>PowerPoint 프레젠테이션</vt:lpstr>
    </vt:vector>
  </TitlesOfParts>
  <Company>XP SP3 FINA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김남윤(NamYoun Kim)</dc:creator>
  <cp:lastModifiedBy>Windows 사용자</cp:lastModifiedBy>
  <cp:revision>1027</cp:revision>
  <cp:lastPrinted>2017-04-24T01:29:52Z</cp:lastPrinted>
  <dcterms:created xsi:type="dcterms:W3CDTF">2012-05-24T05:17:16Z</dcterms:created>
  <dcterms:modified xsi:type="dcterms:W3CDTF">2017-06-08T05:58:03Z</dcterms:modified>
</cp:coreProperties>
</file>